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2" r:id="rId1"/>
  </p:sldMasterIdLst>
  <p:notesMasterIdLst>
    <p:notesMasterId r:id="rId10"/>
  </p:notesMasterIdLst>
  <p:handoutMasterIdLst>
    <p:handoutMasterId r:id="rId11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</p:sldIdLst>
  <p:sldSz cx="9906000" cy="6858000" type="A4"/>
  <p:notesSz cx="6797675" cy="9872663"/>
  <p:custDataLst>
    <p:tags r:id="rId12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625">
          <p15:clr>
            <a:srgbClr val="A4A3A4"/>
          </p15:clr>
        </p15:guide>
        <p15:guide id="3" pos="57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ritz Greve" initials="MG" lastIdx="1" clrIdx="0">
    <p:extLst>
      <p:ext uri="{19B8F6BF-5375-455C-9EA6-DF929625EA0E}">
        <p15:presenceInfo xmlns:p15="http://schemas.microsoft.com/office/powerpoint/2012/main" userId="S::mg@maxburg.com::73381026-713b-4265-b672-c6cb3fee0529" providerId="AD"/>
      </p:ext>
    </p:extLst>
  </p:cmAuthor>
  <p:cmAuthor id="2" name="Julian Mick" initials="JM" lastIdx="1" clrIdx="1">
    <p:extLst>
      <p:ext uri="{19B8F6BF-5375-455C-9EA6-DF929625EA0E}">
        <p15:presenceInfo xmlns:p15="http://schemas.microsoft.com/office/powerpoint/2012/main" userId="S::jm@maxburg.com::961710b2-796e-4cdd-bb20-49cfb320e0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CC65"/>
    <a:srgbClr val="00798C"/>
    <a:srgbClr val="FFFFFF"/>
    <a:srgbClr val="C4B1ED"/>
    <a:srgbClr val="CCFCDD"/>
    <a:srgbClr val="49249C"/>
    <a:srgbClr val="E3DAF6"/>
    <a:srgbClr val="57FFFF"/>
    <a:srgbClr val="D0F6FC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50EA23-EF30-4F57-A92D-CA784F10A5CB}" v="3" dt="2023-12-20T10:59:33.0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41" autoAdjust="0"/>
    <p:restoredTop sz="96269" autoAdjust="0"/>
  </p:normalViewPr>
  <p:slideViewPr>
    <p:cSldViewPr snapToGrid="0">
      <p:cViewPr varScale="1">
        <p:scale>
          <a:sx n="67" d="100"/>
          <a:sy n="67" d="100"/>
        </p:scale>
        <p:origin x="1422" y="72"/>
      </p:cViewPr>
      <p:guideLst>
        <p:guide orient="horz"/>
        <p:guide pos="625"/>
        <p:guide pos="57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3972"/>
    </p:cViewPr>
  </p:sorterViewPr>
  <p:notesViewPr>
    <p:cSldViewPr snapToGrid="0">
      <p:cViewPr varScale="1">
        <p:scale>
          <a:sx n="110" d="100"/>
          <a:sy n="110" d="100"/>
        </p:scale>
        <p:origin x="5208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man Baigmohamed" userId="de444175-7e1f-4690-8220-e04ac1c06f96" providerId="ADAL" clId="{7B50EA23-EF30-4F57-A92D-CA784F10A5CB}"/>
    <pc:docChg chg="modSld">
      <pc:chgData name="Iman Baigmohamed" userId="de444175-7e1f-4690-8220-e04ac1c06f96" providerId="ADAL" clId="{7B50EA23-EF30-4F57-A92D-CA784F10A5CB}" dt="2023-12-20T10:59:33.077" v="16" actId="478"/>
      <pc:docMkLst>
        <pc:docMk/>
      </pc:docMkLst>
      <pc:sldChg chg="modSp mod">
        <pc:chgData name="Iman Baigmohamed" userId="de444175-7e1f-4690-8220-e04ac1c06f96" providerId="ADAL" clId="{7B50EA23-EF30-4F57-A92D-CA784F10A5CB}" dt="2023-12-20T10:41:01.982" v="6" actId="5793"/>
        <pc:sldMkLst>
          <pc:docMk/>
          <pc:sldMk cId="93954726" sldId="259"/>
        </pc:sldMkLst>
        <pc:spChg chg="mod">
          <ac:chgData name="Iman Baigmohamed" userId="de444175-7e1f-4690-8220-e04ac1c06f96" providerId="ADAL" clId="{7B50EA23-EF30-4F57-A92D-CA784F10A5CB}" dt="2023-12-20T10:41:01.982" v="6" actId="5793"/>
          <ac:spMkLst>
            <pc:docMk/>
            <pc:sldMk cId="93954726" sldId="259"/>
            <ac:spMk id="3" creationId="{25ECB308-5CF1-A745-D9F4-C8B4ABEA36BD}"/>
          </ac:spMkLst>
        </pc:spChg>
      </pc:sldChg>
      <pc:sldChg chg="modSp mod">
        <pc:chgData name="Iman Baigmohamed" userId="de444175-7e1f-4690-8220-e04ac1c06f96" providerId="ADAL" clId="{7B50EA23-EF30-4F57-A92D-CA784F10A5CB}" dt="2023-12-20T10:44:00.913" v="12" actId="20577"/>
        <pc:sldMkLst>
          <pc:docMk/>
          <pc:sldMk cId="2563786511" sldId="260"/>
        </pc:sldMkLst>
        <pc:spChg chg="mod">
          <ac:chgData name="Iman Baigmohamed" userId="de444175-7e1f-4690-8220-e04ac1c06f96" providerId="ADAL" clId="{7B50EA23-EF30-4F57-A92D-CA784F10A5CB}" dt="2023-12-20T10:44:00.913" v="12" actId="20577"/>
          <ac:spMkLst>
            <pc:docMk/>
            <pc:sldMk cId="2563786511" sldId="260"/>
            <ac:spMk id="3" creationId="{6556F3F3-BBC6-C4DA-3E56-7F8EAECF6297}"/>
          </ac:spMkLst>
        </pc:spChg>
        <pc:spChg chg="mod">
          <ac:chgData name="Iman Baigmohamed" userId="de444175-7e1f-4690-8220-e04ac1c06f96" providerId="ADAL" clId="{7B50EA23-EF30-4F57-A92D-CA784F10A5CB}" dt="2023-12-20T10:43:43.901" v="10" actId="5793"/>
          <ac:spMkLst>
            <pc:docMk/>
            <pc:sldMk cId="2563786511" sldId="260"/>
            <ac:spMk id="4" creationId="{14E5AFFB-3F06-1035-6212-3B97A95AAAC2}"/>
          </ac:spMkLst>
        </pc:spChg>
      </pc:sldChg>
      <pc:sldChg chg="addSp delSp modSp mod">
        <pc:chgData name="Iman Baigmohamed" userId="de444175-7e1f-4690-8220-e04ac1c06f96" providerId="ADAL" clId="{7B50EA23-EF30-4F57-A92D-CA784F10A5CB}" dt="2023-12-20T10:59:33.077" v="16" actId="478"/>
        <pc:sldMkLst>
          <pc:docMk/>
          <pc:sldMk cId="3916504825" sldId="263"/>
        </pc:sldMkLst>
        <pc:spChg chg="add del mod">
          <ac:chgData name="Iman Baigmohamed" userId="de444175-7e1f-4690-8220-e04ac1c06f96" providerId="ADAL" clId="{7B50EA23-EF30-4F57-A92D-CA784F10A5CB}" dt="2023-12-20T10:59:33.077" v="16" actId="478"/>
          <ac:spMkLst>
            <pc:docMk/>
            <pc:sldMk cId="3916504825" sldId="263"/>
            <ac:spMk id="11" creationId="{8CF48C76-3E19-6AD7-BE6E-58AA0D057D8C}"/>
          </ac:spMkLst>
        </pc:spChg>
      </pc:sldChg>
    </pc:docChg>
  </pc:docChgLst>
  <pc:docChgLst>
    <pc:chgData name="Iman Baigmohamed" userId="de444175-7e1f-4690-8220-e04ac1c06f96" providerId="ADAL" clId="{1AFB27EF-25BA-4B18-84CA-FD95C4323789}"/>
    <pc:docChg chg="addSld delSld modSld">
      <pc:chgData name="Iman Baigmohamed" userId="de444175-7e1f-4690-8220-e04ac1c06f96" providerId="ADAL" clId="{1AFB27EF-25BA-4B18-84CA-FD95C4323789}" dt="2023-11-29T16:50:11.517" v="21" actId="20577"/>
      <pc:docMkLst>
        <pc:docMk/>
      </pc:docMkLst>
      <pc:sldChg chg="del">
        <pc:chgData name="Iman Baigmohamed" userId="de444175-7e1f-4690-8220-e04ac1c06f96" providerId="ADAL" clId="{1AFB27EF-25BA-4B18-84CA-FD95C4323789}" dt="2023-11-23T19:21:16.423" v="2" actId="47"/>
        <pc:sldMkLst>
          <pc:docMk/>
          <pc:sldMk cId="1142089199" sldId="256"/>
        </pc:sldMkLst>
      </pc:sldChg>
      <pc:sldChg chg="new">
        <pc:chgData name="Iman Baigmohamed" userId="de444175-7e1f-4690-8220-e04ac1c06f96" providerId="ADAL" clId="{1AFB27EF-25BA-4B18-84CA-FD95C4323789}" dt="2023-11-23T19:21:15.070" v="1" actId="680"/>
        <pc:sldMkLst>
          <pc:docMk/>
          <pc:sldMk cId="3987102717" sldId="257"/>
        </pc:sldMkLst>
      </pc:sldChg>
      <pc:sldChg chg="new">
        <pc:chgData name="Iman Baigmohamed" userId="de444175-7e1f-4690-8220-e04ac1c06f96" providerId="ADAL" clId="{1AFB27EF-25BA-4B18-84CA-FD95C4323789}" dt="2023-11-23T19:21:24.856" v="3" actId="680"/>
        <pc:sldMkLst>
          <pc:docMk/>
          <pc:sldMk cId="3493888883" sldId="258"/>
        </pc:sldMkLst>
      </pc:sldChg>
      <pc:sldChg chg="modSp new mod">
        <pc:chgData name="Iman Baigmohamed" userId="de444175-7e1f-4690-8220-e04ac1c06f96" providerId="ADAL" clId="{1AFB27EF-25BA-4B18-84CA-FD95C4323789}" dt="2023-11-29T16:50:11.517" v="21" actId="20577"/>
        <pc:sldMkLst>
          <pc:docMk/>
          <pc:sldMk cId="93954726" sldId="259"/>
        </pc:sldMkLst>
        <pc:spChg chg="mod">
          <ac:chgData name="Iman Baigmohamed" userId="de444175-7e1f-4690-8220-e04ac1c06f96" providerId="ADAL" clId="{1AFB27EF-25BA-4B18-84CA-FD95C4323789}" dt="2023-11-29T16:50:11.517" v="21" actId="20577"/>
          <ac:spMkLst>
            <pc:docMk/>
            <pc:sldMk cId="93954726" sldId="259"/>
            <ac:spMk id="2" creationId="{CDA3B76A-7381-2F74-33BA-1FDE8F907235}"/>
          </ac:spMkLst>
        </pc:spChg>
      </pc:sldChg>
      <pc:sldChg chg="modSp new mod">
        <pc:chgData name="Iman Baigmohamed" userId="de444175-7e1f-4690-8220-e04ac1c06f96" providerId="ADAL" clId="{1AFB27EF-25BA-4B18-84CA-FD95C4323789}" dt="2023-11-23T19:21:49.618" v="11" actId="20577"/>
        <pc:sldMkLst>
          <pc:docMk/>
          <pc:sldMk cId="2563786511" sldId="260"/>
        </pc:sldMkLst>
        <pc:spChg chg="mod">
          <ac:chgData name="Iman Baigmohamed" userId="de444175-7e1f-4690-8220-e04ac1c06f96" providerId="ADAL" clId="{1AFB27EF-25BA-4B18-84CA-FD95C4323789}" dt="2023-11-23T19:21:48.470" v="8" actId="20577"/>
          <ac:spMkLst>
            <pc:docMk/>
            <pc:sldMk cId="2563786511" sldId="260"/>
            <ac:spMk id="3" creationId="{6556F3F3-BBC6-C4DA-3E56-7F8EAECF6297}"/>
          </ac:spMkLst>
        </pc:spChg>
        <pc:spChg chg="mod">
          <ac:chgData name="Iman Baigmohamed" userId="de444175-7e1f-4690-8220-e04ac1c06f96" providerId="ADAL" clId="{1AFB27EF-25BA-4B18-84CA-FD95C4323789}" dt="2023-11-23T19:21:49.618" v="11" actId="20577"/>
          <ac:spMkLst>
            <pc:docMk/>
            <pc:sldMk cId="2563786511" sldId="260"/>
            <ac:spMk id="4" creationId="{14E5AFFB-3F06-1035-6212-3B97A95AAAC2}"/>
          </ac:spMkLst>
        </pc:spChg>
      </pc:sldChg>
      <pc:sldChg chg="new">
        <pc:chgData name="Iman Baigmohamed" userId="de444175-7e1f-4690-8220-e04ac1c06f96" providerId="ADAL" clId="{1AFB27EF-25BA-4B18-84CA-FD95C4323789}" dt="2023-11-23T19:21:55.093" v="12" actId="680"/>
        <pc:sldMkLst>
          <pc:docMk/>
          <pc:sldMk cId="4273124700" sldId="261"/>
        </pc:sldMkLst>
      </pc:sldChg>
      <pc:sldChg chg="new">
        <pc:chgData name="Iman Baigmohamed" userId="de444175-7e1f-4690-8220-e04ac1c06f96" providerId="ADAL" clId="{1AFB27EF-25BA-4B18-84CA-FD95C4323789}" dt="2023-11-23T19:22:00.638" v="13" actId="680"/>
        <pc:sldMkLst>
          <pc:docMk/>
          <pc:sldMk cId="2023623096" sldId="262"/>
        </pc:sldMkLst>
      </pc:sldChg>
      <pc:sldChg chg="new">
        <pc:chgData name="Iman Baigmohamed" userId="de444175-7e1f-4690-8220-e04ac1c06f96" providerId="ADAL" clId="{1AFB27EF-25BA-4B18-84CA-FD95C4323789}" dt="2023-11-23T19:22:04.469" v="14" actId="680"/>
        <pc:sldMkLst>
          <pc:docMk/>
          <pc:sldMk cId="3916504825" sldId="263"/>
        </pc:sldMkLst>
      </pc:sldChg>
      <pc:sldChg chg="new">
        <pc:chgData name="Iman Baigmohamed" userId="de444175-7e1f-4690-8220-e04ac1c06f96" providerId="ADAL" clId="{1AFB27EF-25BA-4B18-84CA-FD95C4323789}" dt="2023-11-23T19:22:09.708" v="15" actId="680"/>
        <pc:sldMkLst>
          <pc:docMk/>
          <pc:sldMk cId="1070177630" sldId="264"/>
        </pc:sldMkLst>
      </pc:sldChg>
      <pc:sldChg chg="del">
        <pc:chgData name="Iman Baigmohamed" userId="de444175-7e1f-4690-8220-e04ac1c06f96" providerId="ADAL" clId="{1AFB27EF-25BA-4B18-84CA-FD95C4323789}" dt="2023-11-23T19:21:11.982" v="0" actId="47"/>
        <pc:sldMkLst>
          <pc:docMk/>
          <pc:sldMk cId="2795141192" sldId="2916"/>
        </pc:sldMkLst>
      </pc:sldChg>
      <pc:sldChg chg="del">
        <pc:chgData name="Iman Baigmohamed" userId="de444175-7e1f-4690-8220-e04ac1c06f96" providerId="ADAL" clId="{1AFB27EF-25BA-4B18-84CA-FD95C4323789}" dt="2023-11-23T19:21:11.982" v="0" actId="47"/>
        <pc:sldMkLst>
          <pc:docMk/>
          <pc:sldMk cId="1946809787" sldId="291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2945448" cy="49670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>
            <a:lvl1pPr algn="l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18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228" y="1"/>
            <a:ext cx="2943863" cy="49670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>
            <a:lvl1pPr algn="r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18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375959"/>
            <a:ext cx="2945448" cy="49513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925" tIns="45463" rIns="90925" bIns="45463" numCol="1" anchor="b" anchorCtr="0" compatLnSpc="1">
            <a:prstTxWarp prst="textNoShape">
              <a:avLst/>
            </a:prstTxWarp>
          </a:bodyPr>
          <a:lstStyle>
            <a:lvl1pPr algn="l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703056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2945448" cy="496708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>
            <a:lvl1pPr algn="l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233" y="1"/>
            <a:ext cx="2945448" cy="496708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>
            <a:lvl1pPr algn="r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5488" y="739775"/>
            <a:ext cx="5348287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197" y="4689556"/>
            <a:ext cx="4987287" cy="4443565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375956"/>
            <a:ext cx="2945448" cy="496708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b" anchorCtr="0" compatLnSpc="1">
            <a:prstTxWarp prst="textNoShape">
              <a:avLst/>
            </a:prstTxWarp>
          </a:bodyPr>
          <a:lstStyle>
            <a:lvl1pPr algn="l" defTabSz="908862">
              <a:defRPr sz="1100">
                <a:latin typeface="Arial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233" y="9375956"/>
            <a:ext cx="2945448" cy="496708"/>
          </a:xfrm>
          <a:prstGeom prst="rect">
            <a:avLst/>
          </a:prstGeom>
          <a:noFill/>
          <a:ln>
            <a:noFill/>
          </a:ln>
        </p:spPr>
        <p:txBody>
          <a:bodyPr vert="horz" wrap="square" lIns="90925" tIns="45463" rIns="90925" bIns="45463" numCol="1" anchor="b" anchorCtr="0" compatLnSpc="1">
            <a:prstTxWarp prst="textNoShape">
              <a:avLst/>
            </a:prstTxWarp>
          </a:bodyPr>
          <a:lstStyle>
            <a:lvl1pPr algn="r" defTabSz="907242">
              <a:defRPr sz="1100"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F17A786F-1646-4893-8E1F-44D875CD58BE}" type="slidenum">
              <a:rPr lang="en-GB" altLang="de-DE"/>
              <a:pPr>
                <a:defRPr/>
              </a:pPr>
              <a:t>‹#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8071815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anose="020B0600070205080204" pitchFamily="34" charset="-128"/>
        <a:cs typeface="Arial Unicode MS" pitchFamily="3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tmp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DFE5987-5DEC-E3CC-8925-CA98A0789C24}"/>
              </a:ext>
            </a:extLst>
          </p:cNvPr>
          <p:cNvSpPr/>
          <p:nvPr userDrawn="1"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2934996"/>
            <a:ext cx="8420100" cy="854075"/>
          </a:xfrm>
        </p:spPr>
        <p:txBody>
          <a:bodyPr anchor="b"/>
          <a:lstStyle>
            <a:lvl1pPr algn="l">
              <a:defRPr sz="32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2950" y="3834412"/>
            <a:ext cx="8420100" cy="4746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bg1"/>
                </a:solidFill>
                <a:latin typeface="Poppins Medium" panose="00000600000000000000" pitchFamily="2" charset="0"/>
                <a:ea typeface="Source Sans Pro" panose="020B0503030403020204" pitchFamily="34" charset="0"/>
                <a:cs typeface="Poppins Medium" panose="00000600000000000000" pitchFamily="2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1ACA0D5D-CE34-970A-21A4-6604F840F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121A49"/>
              </a:clrFrom>
              <a:clrTo>
                <a:srgbClr val="121A4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8041" y="5249188"/>
            <a:ext cx="2269490" cy="1293754"/>
          </a:xfrm>
          <a:prstGeom prst="rect">
            <a:avLst/>
          </a:prstGeom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DF96CE7-B7A9-A270-F133-D09BE4829C3E}"/>
              </a:ext>
            </a:extLst>
          </p:cNvPr>
          <p:cNvSpPr/>
          <p:nvPr userDrawn="1"/>
        </p:nvSpPr>
        <p:spPr bwMode="auto">
          <a:xfrm>
            <a:off x="0" y="3337965"/>
            <a:ext cx="782638" cy="3520035"/>
          </a:xfrm>
          <a:prstGeom prst="rtTriangle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9F9B58B-DDD2-7FD0-FBEB-B1D1FB50B74A}"/>
              </a:ext>
            </a:extLst>
          </p:cNvPr>
          <p:cNvSpPr/>
          <p:nvPr userDrawn="1"/>
        </p:nvSpPr>
        <p:spPr bwMode="auto">
          <a:xfrm rot="10800000">
            <a:off x="9123361" y="0"/>
            <a:ext cx="782638" cy="3520035"/>
          </a:xfrm>
          <a:prstGeom prst="rtTriangle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0436622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4376738" cy="4612190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1E5F1B1-122B-4B38-AFD1-8C4B4DCB12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11750" y="1017238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63B503BB-63CF-4AC3-A38C-280CDA0E68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111750" y="1535112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7576AAE-C36D-4612-95E3-925B28607B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11750" y="3656133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06944DC6-1191-4829-B9C2-7BA670CF4B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50" y="4174007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80556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513000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513000" y="1535112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ED2DB89-29FC-45C7-83AA-9C6D10B1CB7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15925" y="3656133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10F47A2-AEC1-446B-B1C5-4C3419ECD79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15925" y="4174007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67C6BA1-B5FF-4E23-99DB-D893E5DDA1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13000" y="3656133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08A0AE9-D24A-4BC7-80C5-BFF09DEF433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513000" y="4174007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0C5041D-5AE9-4774-92FB-DB6876BD46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10075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0465BEC4-8E1D-4264-9108-F23B5EF831C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610075" y="1535112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BCB8F81-3BCD-45ED-81AA-15AAE2B0F5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10075" y="3656133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D3EA442A-D867-4C2D-A905-41D66894BF5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610075" y="4174007"/>
            <a:ext cx="2880000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619159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46265"/>
            <a:ext cx="1440000" cy="1566306"/>
          </a:xfrm>
          <a:solidFill>
            <a:schemeClr val="tx2"/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2375" y="1046266"/>
            <a:ext cx="7337700" cy="1566306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F9161FB-437D-4E9B-BD32-10005F47B2D1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15925" y="2731503"/>
            <a:ext cx="1440000" cy="1566306"/>
          </a:xfrm>
          <a:solidFill>
            <a:schemeClr val="tx2">
              <a:lumMod val="75000"/>
              <a:lumOff val="25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634D4-960F-493A-A616-711EE020AD9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15925" y="4416740"/>
            <a:ext cx="1440000" cy="1566306"/>
          </a:xfrm>
          <a:solidFill>
            <a:schemeClr val="tx2">
              <a:lumMod val="10000"/>
              <a:lumOff val="9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5117B28-3A6E-4522-B6AF-B2EAC3EACB4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2152375" y="2733803"/>
            <a:ext cx="7337700" cy="1566306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C9EC9E2-6FFF-43A5-B395-9F41C423A23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2152375" y="4421340"/>
            <a:ext cx="7337700" cy="1566306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87464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46265"/>
            <a:ext cx="1440000" cy="1080000"/>
          </a:xfrm>
          <a:solidFill>
            <a:schemeClr val="tx2"/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2375" y="1046266"/>
            <a:ext cx="7337700" cy="1080000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F9161FB-437D-4E9B-BD32-10005F47B2D1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15925" y="2331137"/>
            <a:ext cx="1440000" cy="1080000"/>
          </a:xfrm>
          <a:solidFill>
            <a:schemeClr val="tx2">
              <a:lumMod val="90000"/>
              <a:lumOff val="1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634D4-960F-493A-A616-711EE020AD9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15925" y="3616009"/>
            <a:ext cx="1440000" cy="1080000"/>
          </a:xfrm>
          <a:solidFill>
            <a:schemeClr val="tx2">
              <a:lumMod val="75000"/>
              <a:lumOff val="25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0BAA05C-632E-4DB2-8D95-A49E24C6632A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415925" y="4900882"/>
            <a:ext cx="1440000" cy="1080000"/>
          </a:xfrm>
          <a:solidFill>
            <a:schemeClr val="tx2">
              <a:lumMod val="50000"/>
              <a:lumOff val="5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5117B28-3A6E-4522-B6AF-B2EAC3EACB4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2152375" y="2320044"/>
            <a:ext cx="7337700" cy="1080000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C9EC9E2-6FFF-43A5-B395-9F41C423A23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2152375" y="3620609"/>
            <a:ext cx="7337700" cy="1080000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FA2CBC30-0358-47E2-8A51-232D42721A38}"/>
              </a:ext>
            </a:extLst>
          </p:cNvPr>
          <p:cNvSpPr>
            <a:spLocks noGrp="1"/>
          </p:cNvSpPr>
          <p:nvPr>
            <p:ph sz="half" idx="23"/>
          </p:nvPr>
        </p:nvSpPr>
        <p:spPr>
          <a:xfrm>
            <a:off x="2152375" y="4900882"/>
            <a:ext cx="7337700" cy="1080000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962374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46266"/>
            <a:ext cx="1440000" cy="898648"/>
          </a:xfrm>
          <a:solidFill>
            <a:schemeClr val="tx2"/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2375" y="1046267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F9161FB-437D-4E9B-BD32-10005F47B2D1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15925" y="2082349"/>
            <a:ext cx="1440000" cy="898648"/>
          </a:xfrm>
          <a:solidFill>
            <a:schemeClr val="tx2">
              <a:lumMod val="90000"/>
              <a:lumOff val="1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66634D4-960F-493A-A616-711EE020AD9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15925" y="3118432"/>
            <a:ext cx="1440000" cy="898648"/>
          </a:xfrm>
          <a:solidFill>
            <a:schemeClr val="tx2">
              <a:lumMod val="75000"/>
              <a:lumOff val="25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0BAA05C-632E-4DB2-8D95-A49E24C6632A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415925" y="5190598"/>
            <a:ext cx="1440000" cy="898648"/>
          </a:xfrm>
          <a:solidFill>
            <a:schemeClr val="tx2">
              <a:lumMod val="25000"/>
              <a:lumOff val="75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B5117B28-3A6E-4522-B6AF-B2EAC3EACB4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2152375" y="2082350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C9EC9E2-6FFF-43A5-B395-9F41C423A239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2152375" y="3118433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FA2CBC30-0358-47E2-8A51-232D42721A38}"/>
              </a:ext>
            </a:extLst>
          </p:cNvPr>
          <p:cNvSpPr>
            <a:spLocks noGrp="1"/>
          </p:cNvSpPr>
          <p:nvPr>
            <p:ph sz="half" idx="23"/>
          </p:nvPr>
        </p:nvSpPr>
        <p:spPr>
          <a:xfrm>
            <a:off x="2152375" y="5190598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43B0DA8-4EBD-4846-96CF-8D6EFE333821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415925" y="4154515"/>
            <a:ext cx="1440000" cy="898648"/>
          </a:xfrm>
          <a:solidFill>
            <a:schemeClr val="tx2">
              <a:lumMod val="50000"/>
              <a:lumOff val="50000"/>
            </a:schemeClr>
          </a:solidFill>
        </p:spPr>
        <p:txBody>
          <a:bodyPr lIns="36000" tIns="36000" rIns="36000" bIns="3600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EFC35A56-27FE-4163-BF89-B7C19DD7C90E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2152375" y="4154516"/>
            <a:ext cx="7337700" cy="898648"/>
          </a:xfrm>
        </p:spPr>
        <p:txBody>
          <a:bodyPr anchor="ctr"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287365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DFE5987-5DEC-E3CC-8925-CA98A0789C24}"/>
              </a:ext>
            </a:extLst>
          </p:cNvPr>
          <p:cNvSpPr/>
          <p:nvPr userDrawn="1"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2950" y="31906"/>
            <a:ext cx="8420100" cy="854075"/>
          </a:xfrm>
        </p:spPr>
        <p:txBody>
          <a:bodyPr anchor="b"/>
          <a:lstStyle>
            <a:lvl1pPr algn="l">
              <a:defRPr sz="32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GOS</a:t>
            </a:r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1ACA0D5D-CE34-970A-21A4-6604F840F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121A49"/>
              </a:clrFrom>
              <a:clrTo>
                <a:srgbClr val="121A4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762" y="2480002"/>
            <a:ext cx="4101352" cy="2338033"/>
          </a:xfrm>
          <a:prstGeom prst="rect">
            <a:avLst/>
          </a:prstGeom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5DF96CE7-B7A9-A270-F133-D09BE4829C3E}"/>
              </a:ext>
            </a:extLst>
          </p:cNvPr>
          <p:cNvSpPr/>
          <p:nvPr userDrawn="1"/>
        </p:nvSpPr>
        <p:spPr bwMode="auto">
          <a:xfrm>
            <a:off x="0" y="3337965"/>
            <a:ext cx="782638" cy="3520035"/>
          </a:xfrm>
          <a:prstGeom prst="rtTriangle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9F9B58B-DDD2-7FD0-FBEB-B1D1FB50B74A}"/>
              </a:ext>
            </a:extLst>
          </p:cNvPr>
          <p:cNvSpPr/>
          <p:nvPr userDrawn="1"/>
        </p:nvSpPr>
        <p:spPr bwMode="auto">
          <a:xfrm rot="10800000">
            <a:off x="9123361" y="0"/>
            <a:ext cx="782638" cy="3520035"/>
          </a:xfrm>
          <a:prstGeom prst="rtTriangle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2C4B195-5D9B-4F93-A667-38398ABF81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9020" y="2507048"/>
            <a:ext cx="3471997" cy="2053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94959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924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8510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DFE5987-5DEC-E3CC-8925-CA98A0789C24}"/>
              </a:ext>
            </a:extLst>
          </p:cNvPr>
          <p:cNvSpPr/>
          <p:nvPr userDrawn="1"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589726"/>
            <a:ext cx="8420100" cy="854075"/>
          </a:xfrm>
        </p:spPr>
        <p:txBody>
          <a:bodyPr anchor="b"/>
          <a:lstStyle>
            <a:lvl1pPr algn="ctr">
              <a:defRPr sz="2400" b="1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5473523"/>
            <a:ext cx="8420100" cy="474600"/>
          </a:xfrm>
        </p:spPr>
        <p:txBody>
          <a:bodyPr anchor="t"/>
          <a:lstStyle>
            <a:lvl1pPr marL="0" indent="0" algn="ctr">
              <a:buNone/>
              <a:defRPr sz="1600">
                <a:solidFill>
                  <a:schemeClr val="tx2"/>
                </a:solidFill>
                <a:latin typeface="Poppins Medium" panose="00000600000000000000" pitchFamily="2" charset="0"/>
                <a:ea typeface="Source Sans Pro" panose="020B0503030403020204" pitchFamily="34" charset="0"/>
                <a:cs typeface="Poppins Medium" panose="00000600000000000000" pitchFamily="2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56EC4D6E-F795-D8F5-E056-E9BE07ECFC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05" t="30661" r="31729" b="31849"/>
          <a:stretch/>
        </p:blipFill>
        <p:spPr>
          <a:xfrm>
            <a:off x="2548993" y="2028912"/>
            <a:ext cx="4808015" cy="2470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71830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2747962"/>
            <a:ext cx="8420100" cy="1362075"/>
          </a:xfrm>
        </p:spPr>
        <p:txBody>
          <a:bodyPr anchor="b"/>
          <a:lstStyle>
            <a:lvl1pPr algn="l">
              <a:defRPr sz="1800" b="1" cap="all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4201892"/>
            <a:ext cx="8420100" cy="854075"/>
          </a:xfrm>
        </p:spPr>
        <p:txBody>
          <a:bodyPr anchor="t"/>
          <a:lstStyle>
            <a:lvl1pPr marL="0" indent="0" algn="l">
              <a:buNone/>
              <a:defRPr sz="16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673552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95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357460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9074150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9074150" cy="4603138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34098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4376738" cy="460313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0495362-4DAE-4960-A5F4-E36B23EECC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11750" y="1017238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A0D0AFCB-C3EB-44E5-A237-86B9606ACC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111750" y="1535112"/>
            <a:ext cx="4378325" cy="4603138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79215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5300" y="1535112"/>
            <a:ext cx="2880000" cy="4603138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0495362-4DAE-4960-A5F4-E36B23EECC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513000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A0D0AFCB-C3EB-44E5-A237-86B9606ACC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513000" y="1535112"/>
            <a:ext cx="2880000" cy="4603138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0DAE271-9645-438C-9510-FF322CE7B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30700" y="1017238"/>
            <a:ext cx="2880000" cy="454717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CB684E2-8D68-4002-85C4-3738064408E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30700" y="1535112"/>
            <a:ext cx="2880000" cy="4603138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77929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4376738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1750" y="1017238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1750" y="1535112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ED2DB89-29FC-45C7-83AA-9C6D10B1CB7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15925" y="3656133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10F47A2-AEC1-446B-B1C5-4C3419ECD796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15925" y="4174007"/>
            <a:ext cx="4376738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67C6BA1-B5FF-4E23-99DB-D893E5DDA1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11750" y="3656133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08A0AE9-D24A-4BC7-80C5-BFF09DEF433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11750" y="4174007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B42E924-B9CB-45A4-8040-B825564FCC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664555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E26A062E-BE7A-46B4-8560-79F33063CE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47E5BC1-D18C-42F3-ADD0-E70301774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1017238"/>
            <a:ext cx="4376738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608A1DB-6F10-4D72-A1C0-499A398B95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5925" y="1535112"/>
            <a:ext cx="4376738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1E5F1B1-122B-4B38-AFD1-8C4B4DCB12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111750" y="1017238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63B503BB-63CF-4AC3-A38C-280CDA0E68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111750" y="1535112"/>
            <a:ext cx="4378325" cy="4612190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7576AAE-C36D-4612-95E3-925B28607B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5925" y="3656133"/>
            <a:ext cx="4378325" cy="45471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06944DC6-1191-4829-B9C2-7BA670CF4B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5925" y="4174007"/>
            <a:ext cx="4378325" cy="1973295"/>
          </a:xfrm>
        </p:spPr>
        <p:txBody>
          <a:bodyPr/>
          <a:lstStyle>
            <a:lvl1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1100">
                <a:latin typeface="Poppins" panose="00000500000000000000" pitchFamily="2" charset="0"/>
                <a:cs typeface="Poppins" panose="00000500000000000000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64970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27352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1026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8EB605-8888-492D-A6CC-C8C97DC5F018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hlink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572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9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MS PGothic" panose="020B0600070205080204" pitchFamily="34" charset="-128"/>
              <a:cs typeface="Arial Unicode MS" pitchFamily="34" charset="-128"/>
              <a:sym typeface="Arial" panose="020B0604020202020204" pitchFamily="34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204788"/>
            <a:ext cx="90741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5925" y="1004892"/>
            <a:ext cx="9074150" cy="5006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8854" rIns="97706" bIns="488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dirty="0"/>
              <a:t>Click to edit Master text styles</a:t>
            </a:r>
          </a:p>
          <a:p>
            <a:pPr lvl="1"/>
            <a:r>
              <a:rPr lang="en-GB" altLang="de-DE" dirty="0"/>
              <a:t>Second level</a:t>
            </a:r>
          </a:p>
          <a:p>
            <a:pPr lvl="2"/>
            <a:r>
              <a:rPr lang="en-GB" altLang="de-DE" dirty="0"/>
              <a:t>Third level</a:t>
            </a:r>
          </a:p>
          <a:p>
            <a:pPr lvl="3"/>
            <a:r>
              <a:rPr lang="en-GB" altLang="de-DE" dirty="0"/>
              <a:t>Fourth level</a:t>
            </a:r>
          </a:p>
          <a:p>
            <a:pPr lvl="4"/>
            <a:r>
              <a:rPr lang="en-GB" altLang="de-DE" dirty="0"/>
              <a:t>Fifth level</a:t>
            </a:r>
          </a:p>
        </p:txBody>
      </p:sp>
      <p:sp>
        <p:nvSpPr>
          <p:cNvPr id="1029" name="Line 4"/>
          <p:cNvSpPr>
            <a:spLocks noChangeShapeType="1"/>
          </p:cNvSpPr>
          <p:nvPr/>
        </p:nvSpPr>
        <p:spPr bwMode="auto">
          <a:xfrm>
            <a:off x="423863" y="896938"/>
            <a:ext cx="9039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>
              <a:latin typeface="Source Sans Pro Black" panose="020B0604020202020204" pitchFamily="34" charset="0"/>
            </a:endParaRPr>
          </a:p>
        </p:txBody>
      </p:sp>
      <p:sp>
        <p:nvSpPr>
          <p:cNvPr id="398341" name="Text Box 5"/>
          <p:cNvSpPr txBox="1">
            <a:spLocks noChangeArrowheads="1"/>
          </p:cNvSpPr>
          <p:nvPr/>
        </p:nvSpPr>
        <p:spPr bwMode="auto">
          <a:xfrm>
            <a:off x="3036888" y="6081713"/>
            <a:ext cx="3954462" cy="420687"/>
          </a:xfrm>
          <a:prstGeom prst="rect">
            <a:avLst/>
          </a:prstGeom>
          <a:noFill/>
          <a:ln>
            <a:noFill/>
          </a:ln>
        </p:spPr>
        <p:txBody>
          <a:bodyPr lIns="85670" tIns="42835" rIns="85670" bIns="42835">
            <a:spAutoFit/>
          </a:bodyPr>
          <a:lstStyle>
            <a:lvl1pPr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428625"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857250"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284288"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712913" algn="l" defTabSz="857250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170113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627313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084513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541713" defTabSz="8572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2200">
              <a:solidFill>
                <a:schemeClr val="bg2"/>
              </a:solidFill>
              <a:latin typeface="Verdana" pitchFamily="34" charset="0"/>
            </a:endParaRPr>
          </a:p>
        </p:txBody>
      </p:sp>
      <p:sp>
        <p:nvSpPr>
          <p:cNvPr id="1031" name="Rectangle 6"/>
          <p:cNvSpPr>
            <a:spLocks noChangeArrowheads="1"/>
          </p:cNvSpPr>
          <p:nvPr/>
        </p:nvSpPr>
        <p:spPr bwMode="auto">
          <a:xfrm>
            <a:off x="9142413" y="6381750"/>
            <a:ext cx="2047875" cy="414338"/>
          </a:xfrm>
          <a:prstGeom prst="rect">
            <a:avLst/>
          </a:prstGeom>
          <a:noFill/>
          <a:ln>
            <a:noFill/>
          </a:ln>
        </p:spPr>
        <p:txBody>
          <a:bodyPr lIns="97706" tIns="48854" rIns="97706" bIns="48854" anchor="b"/>
          <a:lstStyle>
            <a:lvl1pPr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77900"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fld id="{3961F446-191B-443A-ABB3-25BA3CD7651B}" type="slidenum">
              <a:rPr lang="en-GB" altLang="de-DE" sz="1000" smtClean="0">
                <a:solidFill>
                  <a:schemeClr val="tx2"/>
                </a:solidFill>
                <a:latin typeface="Poppins Medium" panose="00000600000000000000" pitchFamily="2" charset="0"/>
                <a:ea typeface="Source Sans Pro Black" panose="020B0803030403020204" pitchFamily="34" charset="0"/>
                <a:cs typeface="Poppins Medium" panose="00000600000000000000" pitchFamily="2" charset="0"/>
              </a:rPr>
              <a:pPr>
                <a:defRPr/>
              </a:pPr>
              <a:t>‹#›</a:t>
            </a:fld>
            <a:endParaRPr lang="en-GB" altLang="de-DE" sz="1000" dirty="0">
              <a:solidFill>
                <a:schemeClr val="tx2"/>
              </a:solidFill>
              <a:latin typeface="Poppins Medium" panose="00000600000000000000" pitchFamily="2" charset="0"/>
              <a:ea typeface="Source Sans Pro Black" panose="020B0803030403020204" pitchFamily="34" charset="0"/>
              <a:cs typeface="Poppins Medium" panose="00000600000000000000" pitchFamily="2" charset="0"/>
            </a:endParaRPr>
          </a:p>
          <a:p>
            <a:pPr>
              <a:defRPr/>
            </a:pPr>
            <a:endParaRPr lang="en-GB" altLang="de-DE" sz="1000" dirty="0">
              <a:solidFill>
                <a:schemeClr val="tx2"/>
              </a:solidFill>
              <a:latin typeface="Poppins Medium" panose="00000600000000000000" pitchFamily="2" charset="0"/>
              <a:ea typeface="Source Sans Pro Black" panose="020B0803030403020204" pitchFamily="34" charset="0"/>
              <a:cs typeface="Poppins Medium" panose="00000600000000000000" pitchFamily="2" charset="0"/>
            </a:endParaRPr>
          </a:p>
        </p:txBody>
      </p:sp>
      <p:sp>
        <p:nvSpPr>
          <p:cNvPr id="1032" name="Line 7"/>
          <p:cNvSpPr>
            <a:spLocks noChangeShapeType="1"/>
          </p:cNvSpPr>
          <p:nvPr/>
        </p:nvSpPr>
        <p:spPr bwMode="auto">
          <a:xfrm>
            <a:off x="423863" y="6288088"/>
            <a:ext cx="9039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959479C-B200-49E3-AF07-8D0189987357}"/>
              </a:ext>
            </a:extLst>
          </p:cNvPr>
          <p:cNvSpPr txBox="1"/>
          <p:nvPr userDrawn="1"/>
        </p:nvSpPr>
        <p:spPr>
          <a:xfrm rot="5400000">
            <a:off x="-2830853" y="3305889"/>
            <a:ext cx="5924358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b="1" dirty="0">
                <a:solidFill>
                  <a:schemeClr val="bg2">
                    <a:lumMod val="40000"/>
                    <a:lumOff val="60000"/>
                  </a:schemeClr>
                </a:solidFill>
                <a:latin typeface="Poppins Medium" panose="00000600000000000000" pitchFamily="2" charset="0"/>
                <a:cs typeface="Poppins Medium" panose="00000600000000000000" pitchFamily="2" charset="0"/>
              </a:rPr>
              <a:t>Strictly Private &amp; Highly Confidential – Property of United Star Software Limited (Dublin)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E72A5080-22F4-2CFE-A4E0-675EF350D8A2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03" y="6379792"/>
            <a:ext cx="671318" cy="4049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099" r:id="rId1"/>
    <p:sldLayoutId id="2147487037" r:id="rId2"/>
    <p:sldLayoutId id="2147487093" r:id="rId3"/>
    <p:sldLayoutId id="2147487036" r:id="rId4"/>
    <p:sldLayoutId id="2147487090" r:id="rId5"/>
    <p:sldLayoutId id="2147487039" r:id="rId6"/>
    <p:sldLayoutId id="2147487097" r:id="rId7"/>
    <p:sldLayoutId id="2147487088" r:id="rId8"/>
    <p:sldLayoutId id="2147487089" r:id="rId9"/>
    <p:sldLayoutId id="2147487098" r:id="rId10"/>
    <p:sldLayoutId id="2147487091" r:id="rId11"/>
    <p:sldLayoutId id="2147487095" r:id="rId12"/>
    <p:sldLayoutId id="2147487094" r:id="rId13"/>
    <p:sldLayoutId id="2147487096" r:id="rId14"/>
    <p:sldLayoutId id="2147487100" r:id="rId15"/>
    <p:sldLayoutId id="2147487040" r:id="rId16"/>
  </p:sldLayoutIdLst>
  <p:transition>
    <p:fade/>
  </p:transition>
  <p:hf sldNum="0" hdr="0" dt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Poppins SemiBold" panose="00000700000000000000" pitchFamily="2" charset="0"/>
          <a:ea typeface="MS PGothic" panose="020B0600070205080204" pitchFamily="34" charset="-128"/>
          <a:cs typeface="Poppins SemiBold" panose="00000700000000000000" pitchFamily="2" charset="0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Arial Unicode MS" pitchFamily="34" charset="-128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Arial Unicode MS" pitchFamily="34" charset="-128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Arial Unicode MS" pitchFamily="34" charset="-128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  <a:cs typeface="Arial Unicode MS" pitchFamily="34" charset="-128"/>
        </a:defRPr>
      </a:lvl5pPr>
      <a:lvl6pPr marL="457200" algn="l" defTabSz="97790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400" algn="l" defTabSz="97790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600" algn="l" defTabSz="97790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800" algn="l" defTabSz="97790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269875" indent="-269875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2"/>
          </a:solidFill>
          <a:latin typeface="Poppins Medium" panose="00000600000000000000" pitchFamily="2" charset="0"/>
          <a:ea typeface="MS PGothic" panose="020B0600070205080204" pitchFamily="34" charset="-128"/>
          <a:cs typeface="Poppins Medium" panose="00000600000000000000" pitchFamily="2" charset="0"/>
        </a:defRPr>
      </a:lvl1pPr>
      <a:lvl2pPr marL="528638" indent="-257175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Font typeface="Verdana" panose="020B0604030504040204" pitchFamily="34" charset="0"/>
        <a:buChar char="–"/>
        <a:defRPr sz="1100">
          <a:solidFill>
            <a:schemeClr val="tx2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2pPr>
      <a:lvl3pPr marL="808038" indent="-277813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2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3pPr>
      <a:lvl4pPr marL="1068388" indent="-258763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Font typeface="Verdana" panose="020B0604030504040204" pitchFamily="34" charset="0"/>
        <a:buChar char="–"/>
        <a:defRPr sz="1100">
          <a:solidFill>
            <a:schemeClr val="tx2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4pPr>
      <a:lvl5pPr marL="1338263" indent="-260350" algn="l" defTabSz="977900" rtl="0" eaLnBrk="0" fontAlgn="base" hangingPunct="0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2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5pPr>
      <a:lvl6pPr marL="1795463" indent="-260350" algn="l" defTabSz="977900" rtl="0" fontAlgn="base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6pPr>
      <a:lvl7pPr marL="2252663" indent="-260350" algn="l" defTabSz="977900" rtl="0" fontAlgn="base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7pPr>
      <a:lvl8pPr marL="2709863" indent="-260350" algn="l" defTabSz="977900" rtl="0" fontAlgn="base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8pPr>
      <a:lvl9pPr marL="3167063" indent="-260350" algn="l" defTabSz="977900" rtl="0" fontAlgn="base">
        <a:spcBef>
          <a:spcPct val="20000"/>
        </a:spcBef>
        <a:spcAft>
          <a:spcPct val="0"/>
        </a:spcAft>
        <a:buClr>
          <a:srgbClr val="99CCFF"/>
        </a:buClr>
        <a:buChar char="•"/>
        <a:defRPr sz="11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E97AB-66F1-54BB-F1CB-152D11E831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7CB68A-E20F-FFD4-ADFB-2982294E2D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710271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E7173E-20D4-EAF0-9F78-2356EF26D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D9EF9-9FC2-85D0-98C7-8B177276FD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38888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A3B76A-7381-2F74-33BA-1FDE8F907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ECB308-5CF1-A745-D9F4-C8B4ABEA36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5472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C60E27-5453-CBAF-3EA5-3E2CC2E8F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56F3F3-BBC6-C4DA-3E56-7F8EAECF62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E5AFFB-3F06-1035-6212-3B97A95AAAC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BC3DA6-A8E3-6827-8B26-E03B5CD216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41F94CB-B5B9-17CD-9DF5-E788AB9BCBA9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7865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6F99F6-E575-4468-CC4A-D52A7DABD0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1B6BFF-8E61-23C5-1E7E-57FB8D7D34F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024CC8-87B8-026D-9AC2-8036FAA062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51D9802-4FF2-F05F-4B61-4F1CD87806F3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0604C0-BB5F-6BBC-C3E1-FCEDBC88DF5C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B8CF7BA-3693-F126-8244-BB052ECBC4CE}"/>
              </a:ext>
            </a:extLst>
          </p:cNvPr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9BFA101-5851-E222-59C7-DCAF74E4A7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69C5435-558B-DCC3-1DD0-E1B73957975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47D05B8-79AA-E83F-1A54-CED0C8B14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31247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ECDFA-06E5-0C74-2B88-A227428FC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46986F-766D-AA91-751F-FAA808A2D6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2D50AC-59B1-057E-C597-41B57A87AB0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BFD021-9CE4-DB00-6A52-6CEFB50F6D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4C2B09C-27BA-D792-4FB8-9233C34B58C4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D35EB7-21D6-DEA9-FF69-0DC52B5356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9834D89-D53F-4EA5-0B25-02BF3E63349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62309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6091CC-7EBC-6DB1-DB29-3E514E6EBE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D13CE1-BA38-3EA5-D25C-B8A778A07DA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3CF2C2-D8EE-858F-244C-3E2627C6F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D94A49-C9CB-5C22-887A-AA1FFD1DE7D1}"/>
              </a:ext>
            </a:extLst>
          </p:cNvPr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D38654-CDCC-445D-B7FF-18C23838CA82}"/>
              </a:ext>
            </a:extLst>
          </p:cNvPr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0A2D448-A788-DF87-8A9D-DB51D7C05883}"/>
              </a:ext>
            </a:extLst>
          </p:cNvPr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728C320-1545-130E-4BCB-121F8E45BA29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E27E9A4-EFBC-26CD-1213-43070B37BE62}"/>
              </a:ext>
            </a:extLst>
          </p:cNvPr>
          <p:cNvSpPr>
            <a:spLocks noGrp="1"/>
          </p:cNvSpPr>
          <p:nvPr>
            <p:ph sz="half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3DA93DC-567E-0227-BE6A-C0A474E84A0E}"/>
              </a:ext>
            </a:extLst>
          </p:cNvPr>
          <p:cNvSpPr>
            <a:spLocks noGrp="1"/>
          </p:cNvSpPr>
          <p:nvPr>
            <p:ph sz="half" idx="2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650482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455664-2037-2148-C625-2010C6FC0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FCBE56-2228-CFA8-B2B5-8B2B45E062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F6A7AA-19B9-1880-638E-D0E4012DCFB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04FCEF-9F41-B810-1919-55E0B843AB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710C6A-D0E7-2DF5-5200-B865AFC44413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7459BC-8EA9-97D4-68EF-80C0AAE7D5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11E5001-6FD5-B477-8E4C-C64C77E4349D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017763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70999999999999996447E+00&quot;&gt;&lt;m_msothmcolidx val=&quot;0&quot;/&gt;&lt;m_rgb r=&quot;F2&quot; g=&quot;C2&quot; b=&quot;31&quot;/&gt;&lt;/elem&gt;&lt;elem m_fUsage=&quot;1.38509999999999999787E+00&quot;&gt;&lt;m_msothmcolidx val=&quot;0&quot;/&gt;&lt;m_rgb r=&quot;F2&quot; g=&quot;94&quot; b=&quot;00&quot;/&gt;&lt;/elem&gt;&lt;elem m_fUsage=&quot;1.00000000000000000000E+00&quot;&gt;&lt;m_msothmcolidx val=&quot;0&quot;/&gt;&lt;m_rgb r=&quot;F2&quot; g=&quot;AE&quot; b=&quot;3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aXEicjQXCDnZgRPSIB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pax_Final_Template">
  <a:themeElements>
    <a:clrScheme name="USG 22">
      <a:dk1>
        <a:srgbClr val="000000"/>
      </a:dk1>
      <a:lt1>
        <a:srgbClr val="FFFFFF"/>
      </a:lt1>
      <a:dk2>
        <a:srgbClr val="121A49"/>
      </a:dk2>
      <a:lt2>
        <a:srgbClr val="9CCC65"/>
      </a:lt2>
      <a:accent1>
        <a:srgbClr val="738290"/>
      </a:accent1>
      <a:accent2>
        <a:srgbClr val="6B0F1A"/>
      </a:accent2>
      <a:accent3>
        <a:srgbClr val="00798C"/>
      </a:accent3>
      <a:accent4>
        <a:srgbClr val="FE9920"/>
      </a:accent4>
      <a:accent5>
        <a:srgbClr val="D11149"/>
      </a:accent5>
      <a:accent6>
        <a:srgbClr val="72BCAF"/>
      </a:accent6>
      <a:hlink>
        <a:srgbClr val="700353"/>
      </a:hlink>
      <a:folHlink>
        <a:srgbClr val="D11149"/>
      </a:folHlink>
    </a:clrScheme>
    <a:fontScheme name="Poppins (United Star Group)">
      <a:majorFont>
        <a:latin typeface="Poppins Black"/>
        <a:ea typeface="Arial Unicode MS"/>
        <a:cs typeface="Arial Unicode MS"/>
      </a:majorFont>
      <a:minorFont>
        <a:latin typeface="Poppins Medium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72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72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Apax_Final_Template 1">
        <a:dk1>
          <a:srgbClr val="000000"/>
        </a:dk1>
        <a:lt1>
          <a:srgbClr val="99CCFF"/>
        </a:lt1>
        <a:dk2>
          <a:srgbClr val="FFFFFF"/>
        </a:dk2>
        <a:lt2>
          <a:srgbClr val="646464"/>
        </a:lt2>
        <a:accent1>
          <a:srgbClr val="00144E"/>
        </a:accent1>
        <a:accent2>
          <a:srgbClr val="0097AC"/>
        </a:accent2>
        <a:accent3>
          <a:srgbClr val="CAE2FF"/>
        </a:accent3>
        <a:accent4>
          <a:srgbClr val="000000"/>
        </a:accent4>
        <a:accent5>
          <a:srgbClr val="AAAAB2"/>
        </a:accent5>
        <a:accent6>
          <a:srgbClr val="00889B"/>
        </a:accent6>
        <a:hlink>
          <a:srgbClr val="ED7F22"/>
        </a:hlink>
        <a:folHlink>
          <a:srgbClr val="CC0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pax_Final_Template 2">
        <a:dk1>
          <a:srgbClr val="646464"/>
        </a:dk1>
        <a:lt1>
          <a:srgbClr val="FFFFFF"/>
        </a:lt1>
        <a:dk2>
          <a:srgbClr val="00144E"/>
        </a:dk2>
        <a:lt2>
          <a:srgbClr val="646464"/>
        </a:lt2>
        <a:accent1>
          <a:srgbClr val="99CCFF"/>
        </a:accent1>
        <a:accent2>
          <a:srgbClr val="B30B46"/>
        </a:accent2>
        <a:accent3>
          <a:srgbClr val="FFFFFF"/>
        </a:accent3>
        <a:accent4>
          <a:srgbClr val="545454"/>
        </a:accent4>
        <a:accent5>
          <a:srgbClr val="CAE2FF"/>
        </a:accent5>
        <a:accent6>
          <a:srgbClr val="A2093F"/>
        </a:accent6>
        <a:hlink>
          <a:srgbClr val="ED7F22"/>
        </a:hlink>
        <a:folHlink>
          <a:srgbClr val="0097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35981</TotalTime>
  <Words>0</Words>
  <Application>Microsoft Office PowerPoint</Application>
  <PresentationFormat>A4 Paper (210x297 mm)</PresentationFormat>
  <Paragraphs>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Poppins</vt:lpstr>
      <vt:lpstr>Poppins Medium</vt:lpstr>
      <vt:lpstr>Poppins SemiBold</vt:lpstr>
      <vt:lpstr>Source Sans Pro Black</vt:lpstr>
      <vt:lpstr>Verdana</vt:lpstr>
      <vt:lpstr>Apax_Final_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pax Partners UK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ted Star Group</dc:title>
  <dc:creator>TestUser</dc:creator>
  <cp:lastModifiedBy>Iman Baigmohamed</cp:lastModifiedBy>
  <cp:revision>3916</cp:revision>
  <cp:lastPrinted>2020-10-07T14:05:39Z</cp:lastPrinted>
  <dcterms:created xsi:type="dcterms:W3CDTF">2009-11-20T06:48:42Z</dcterms:created>
  <dcterms:modified xsi:type="dcterms:W3CDTF">2023-12-20T10:59:44Z</dcterms:modified>
</cp:coreProperties>
</file>